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4"/>
  </p:notesMasterIdLst>
  <p:handoutMasterIdLst>
    <p:handoutMasterId r:id="rId15"/>
  </p:handoutMasterIdLst>
  <p:sldIdLst>
    <p:sldId id="1277" r:id="rId3"/>
    <p:sldId id="1293" r:id="rId4"/>
    <p:sldId id="1294" r:id="rId5"/>
    <p:sldId id="1296" r:id="rId6"/>
    <p:sldId id="1383" r:id="rId7"/>
    <p:sldId id="1384" r:id="rId8"/>
    <p:sldId id="1373" r:id="rId9"/>
    <p:sldId id="1343" r:id="rId10"/>
    <p:sldId id="1344" r:id="rId11"/>
    <p:sldId id="1345" r:id="rId12"/>
    <p:sldId id="1346" r:id="rId1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3"/>
            <p14:sldId id="1384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864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373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/>
              <a:t>9</a:t>
            </a:r>
            <a:r>
              <a:rPr lang="cs-CZ" b="1" dirty="0" smtClean="0"/>
              <a:t>. </a:t>
            </a:r>
            <a:r>
              <a:rPr lang="cs-CZ" b="1" dirty="0" smtClean="0"/>
              <a:t>ledna 2022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1438078"/>
              </p:ext>
            </p:extLst>
          </p:nvPr>
        </p:nvGraphicFramePr>
        <p:xfrm>
          <a:off x="376606" y="805063"/>
          <a:ext cx="11519385" cy="5613314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329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9698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největší zátěž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ecně stran personálu – spousta PN (mim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dchody ze ZZ- Někteří nechtějí zažít další vlnu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74717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oproti podzimu zklidnění situace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plánované operativy minimální, někde maximálně do 2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ost personálu v trendu , očekává se zvýše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vistos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 nákaz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OČR, nemocnost)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97650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é %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kovidů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 lůžkách IP, ECMO kapacita dostatečná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icho před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kronovo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ouří?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27620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Havlíčkův Brod, Třebíč, Nové Město n/M) obdobná situace.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jvětší zátěž zatím stále nemocnice Nové Město n/M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5211575"/>
              </p:ext>
            </p:extLst>
          </p:nvPr>
        </p:nvGraphicFramePr>
        <p:xfrm>
          <a:off x="434413" y="847512"/>
          <a:ext cx="11435203" cy="506634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nace C19 případů, stále poměrně vysoké počty na JIP. Očekávaný výpadek personálu v souvislosti s šířením varianty omikron způsobí velké problémy se zajištěním péče. Podpora HZS/AČR nadále zásadní.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C+ hospitalizovaných na standardu, JIP zatížené také méně, ale je 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kteří drž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k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plněné ve všech nemocnicích v ZLK, nelze spustit elektivní operativu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adále identický problém – ARO/JIP zaplněny velkým množstvím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 pacientů, většina z nich nadále na UPV a/anebo ECMO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34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/>
              <a:t>9</a:t>
            </a:r>
            <a:r>
              <a:rPr lang="cs-CZ" b="1" dirty="0" smtClean="0"/>
              <a:t>.1.2022 00:33</a:t>
            </a:r>
            <a:endParaRPr lang="cs-CZ" b="1" dirty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464</a:t>
            </a:r>
            <a:endParaRPr lang="cs-CZ" b="1" dirty="0" smtClean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4034640"/>
              </p:ext>
            </p:extLst>
          </p:nvPr>
        </p:nvGraphicFramePr>
        <p:xfrm>
          <a:off x="535707" y="969818"/>
          <a:ext cx="9227128" cy="5368363"/>
        </p:xfrm>
        <a:graphic>
          <a:graphicData uri="http://schemas.openxmlformats.org/drawingml/2006/table">
            <a:tbl>
              <a:tblPr/>
              <a:tblGrid>
                <a:gridCol w="2025729">
                  <a:extLst>
                    <a:ext uri="{9D8B030D-6E8A-4147-A177-3AD203B41FA5}">
                      <a16:colId xmlns:a16="http://schemas.microsoft.com/office/drawing/2014/main" val="3738538778"/>
                    </a:ext>
                  </a:extLst>
                </a:gridCol>
                <a:gridCol w="1153728">
                  <a:extLst>
                    <a:ext uri="{9D8B030D-6E8A-4147-A177-3AD203B41FA5}">
                      <a16:colId xmlns:a16="http://schemas.microsoft.com/office/drawing/2014/main" val="3590731005"/>
                    </a:ext>
                  </a:extLst>
                </a:gridCol>
                <a:gridCol w="1140311">
                  <a:extLst>
                    <a:ext uri="{9D8B030D-6E8A-4147-A177-3AD203B41FA5}">
                      <a16:colId xmlns:a16="http://schemas.microsoft.com/office/drawing/2014/main" val="2325549655"/>
                    </a:ext>
                  </a:extLst>
                </a:gridCol>
                <a:gridCol w="1140311">
                  <a:extLst>
                    <a:ext uri="{9D8B030D-6E8A-4147-A177-3AD203B41FA5}">
                      <a16:colId xmlns:a16="http://schemas.microsoft.com/office/drawing/2014/main" val="3964792762"/>
                    </a:ext>
                  </a:extLst>
                </a:gridCol>
                <a:gridCol w="1193972">
                  <a:extLst>
                    <a:ext uri="{9D8B030D-6E8A-4147-A177-3AD203B41FA5}">
                      <a16:colId xmlns:a16="http://schemas.microsoft.com/office/drawing/2014/main" val="158594946"/>
                    </a:ext>
                  </a:extLst>
                </a:gridCol>
                <a:gridCol w="949812">
                  <a:extLst>
                    <a:ext uri="{9D8B030D-6E8A-4147-A177-3AD203B41FA5}">
                      <a16:colId xmlns:a16="http://schemas.microsoft.com/office/drawing/2014/main" val="1468307095"/>
                    </a:ext>
                  </a:extLst>
                </a:gridCol>
                <a:gridCol w="1623265">
                  <a:extLst>
                    <a:ext uri="{9D8B030D-6E8A-4147-A177-3AD203B41FA5}">
                      <a16:colId xmlns:a16="http://schemas.microsoft.com/office/drawing/2014/main" val="4050422289"/>
                    </a:ext>
                  </a:extLst>
                </a:gridCol>
              </a:tblGrid>
              <a:tr h="175998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766060"/>
                  </a:ext>
                </a:extLst>
              </a:tr>
              <a:tr h="175998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09.01. 2022, 11:00 h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1939352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0394739"/>
                  </a:ext>
                </a:extLst>
              </a:tr>
              <a:tr h="17599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6173924"/>
                  </a:ext>
                </a:extLst>
              </a:tr>
              <a:tr h="69030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527641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051872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5684542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2156578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4176786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265183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2734974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8092934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8768196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1233328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7657841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7630799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231179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9324077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563559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4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2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4501899"/>
                  </a:ext>
                </a:extLst>
              </a:tr>
              <a:tr h="175998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9123780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4519532"/>
                  </a:ext>
                </a:extLst>
              </a:tr>
              <a:tr h="17599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0469752"/>
                  </a:ext>
                </a:extLst>
              </a:tr>
              <a:tr h="175998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x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5747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4727333"/>
              </p:ext>
            </p:extLst>
          </p:nvPr>
        </p:nvGraphicFramePr>
        <p:xfrm>
          <a:off x="443345" y="925088"/>
          <a:ext cx="9079345" cy="5476128"/>
        </p:xfrm>
        <a:graphic>
          <a:graphicData uri="http://schemas.openxmlformats.org/drawingml/2006/table">
            <a:tbl>
              <a:tblPr/>
              <a:tblGrid>
                <a:gridCol w="1993286">
                  <a:extLst>
                    <a:ext uri="{9D8B030D-6E8A-4147-A177-3AD203B41FA5}">
                      <a16:colId xmlns:a16="http://schemas.microsoft.com/office/drawing/2014/main" val="1631916036"/>
                    </a:ext>
                  </a:extLst>
                </a:gridCol>
                <a:gridCol w="1135249">
                  <a:extLst>
                    <a:ext uri="{9D8B030D-6E8A-4147-A177-3AD203B41FA5}">
                      <a16:colId xmlns:a16="http://schemas.microsoft.com/office/drawing/2014/main" val="561116241"/>
                    </a:ext>
                  </a:extLst>
                </a:gridCol>
                <a:gridCol w="1122048">
                  <a:extLst>
                    <a:ext uri="{9D8B030D-6E8A-4147-A177-3AD203B41FA5}">
                      <a16:colId xmlns:a16="http://schemas.microsoft.com/office/drawing/2014/main" val="3856800486"/>
                    </a:ext>
                  </a:extLst>
                </a:gridCol>
                <a:gridCol w="1122048">
                  <a:extLst>
                    <a:ext uri="{9D8B030D-6E8A-4147-A177-3AD203B41FA5}">
                      <a16:colId xmlns:a16="http://schemas.microsoft.com/office/drawing/2014/main" val="3744589112"/>
                    </a:ext>
                  </a:extLst>
                </a:gridCol>
                <a:gridCol w="1174848">
                  <a:extLst>
                    <a:ext uri="{9D8B030D-6E8A-4147-A177-3AD203B41FA5}">
                      <a16:colId xmlns:a16="http://schemas.microsoft.com/office/drawing/2014/main" val="520780139"/>
                    </a:ext>
                  </a:extLst>
                </a:gridCol>
                <a:gridCol w="934599">
                  <a:extLst>
                    <a:ext uri="{9D8B030D-6E8A-4147-A177-3AD203B41FA5}">
                      <a16:colId xmlns:a16="http://schemas.microsoft.com/office/drawing/2014/main" val="2089624197"/>
                    </a:ext>
                  </a:extLst>
                </a:gridCol>
                <a:gridCol w="1597267">
                  <a:extLst>
                    <a:ext uri="{9D8B030D-6E8A-4147-A177-3AD203B41FA5}">
                      <a16:colId xmlns:a16="http://schemas.microsoft.com/office/drawing/2014/main" val="2466193991"/>
                    </a:ext>
                  </a:extLst>
                </a:gridCol>
              </a:tblGrid>
              <a:tr h="143064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6524821"/>
                  </a:ext>
                </a:extLst>
              </a:tr>
              <a:tr h="143064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09.01. 2022, 11:00 h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1738019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8531008"/>
                  </a:ext>
                </a:extLst>
              </a:tr>
              <a:tr h="14306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7740012"/>
                  </a:ext>
                </a:extLst>
              </a:tr>
              <a:tr h="56109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3949297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3404870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8957862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1568771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3208616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4089867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6269089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401467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3937549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7296153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1038733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1399263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495930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2326573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0858059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8824369"/>
                  </a:ext>
                </a:extLst>
              </a:tr>
              <a:tr h="14306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4721829"/>
                  </a:ext>
                </a:extLst>
              </a:tr>
              <a:tr h="7554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1536793"/>
                  </a:ext>
                </a:extLst>
              </a:tr>
              <a:tr h="14306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0319094"/>
                  </a:ext>
                </a:extLst>
              </a:tr>
              <a:tr h="14306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x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05431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/>
              <a:t>9</a:t>
            </a:r>
            <a:r>
              <a:rPr lang="cs-CZ" b="1" dirty="0" smtClean="0"/>
              <a:t>.1.2022 00:33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1 840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9339729"/>
              </p:ext>
            </p:extLst>
          </p:nvPr>
        </p:nvGraphicFramePr>
        <p:xfrm>
          <a:off x="332818" y="896492"/>
          <a:ext cx="8617217" cy="5475720"/>
        </p:xfrm>
        <a:graphic>
          <a:graphicData uri="http://schemas.openxmlformats.org/drawingml/2006/table">
            <a:tbl>
              <a:tblPr/>
              <a:tblGrid>
                <a:gridCol w="1823431">
                  <a:extLst>
                    <a:ext uri="{9D8B030D-6E8A-4147-A177-3AD203B41FA5}">
                      <a16:colId xmlns:a16="http://schemas.microsoft.com/office/drawing/2014/main" val="271662661"/>
                    </a:ext>
                  </a:extLst>
                </a:gridCol>
                <a:gridCol w="1038509">
                  <a:extLst>
                    <a:ext uri="{9D8B030D-6E8A-4147-A177-3AD203B41FA5}">
                      <a16:colId xmlns:a16="http://schemas.microsoft.com/office/drawing/2014/main" val="3974063505"/>
                    </a:ext>
                  </a:extLst>
                </a:gridCol>
                <a:gridCol w="1026434">
                  <a:extLst>
                    <a:ext uri="{9D8B030D-6E8A-4147-A177-3AD203B41FA5}">
                      <a16:colId xmlns:a16="http://schemas.microsoft.com/office/drawing/2014/main" val="1230081362"/>
                    </a:ext>
                  </a:extLst>
                </a:gridCol>
                <a:gridCol w="1026434">
                  <a:extLst>
                    <a:ext uri="{9D8B030D-6E8A-4147-A177-3AD203B41FA5}">
                      <a16:colId xmlns:a16="http://schemas.microsoft.com/office/drawing/2014/main" val="4240446830"/>
                    </a:ext>
                  </a:extLst>
                </a:gridCol>
                <a:gridCol w="1074737">
                  <a:extLst>
                    <a:ext uri="{9D8B030D-6E8A-4147-A177-3AD203B41FA5}">
                      <a16:colId xmlns:a16="http://schemas.microsoft.com/office/drawing/2014/main" val="3644421887"/>
                    </a:ext>
                  </a:extLst>
                </a:gridCol>
                <a:gridCol w="1461159">
                  <a:extLst>
                    <a:ext uri="{9D8B030D-6E8A-4147-A177-3AD203B41FA5}">
                      <a16:colId xmlns:a16="http://schemas.microsoft.com/office/drawing/2014/main" val="987428529"/>
                    </a:ext>
                  </a:extLst>
                </a:gridCol>
                <a:gridCol w="1166513">
                  <a:extLst>
                    <a:ext uri="{9D8B030D-6E8A-4147-A177-3AD203B41FA5}">
                      <a16:colId xmlns:a16="http://schemas.microsoft.com/office/drawing/2014/main" val="522910771"/>
                    </a:ext>
                  </a:extLst>
                </a:gridCol>
              </a:tblGrid>
              <a:tr h="186633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1245165"/>
                  </a:ext>
                </a:extLst>
              </a:tr>
              <a:tr h="186633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09.01. 2022, 11:00 h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3110163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6907892"/>
                  </a:ext>
                </a:extLst>
              </a:tr>
              <a:tr h="18663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6872693"/>
                  </a:ext>
                </a:extLst>
              </a:tr>
              <a:tr h="55022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136003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8494126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2277145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962404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6481539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9303965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4705354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4741551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8317983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5860361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3272413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635840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300080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3021708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152202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5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3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8057724"/>
                  </a:ext>
                </a:extLst>
              </a:tr>
              <a:tr h="186633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8796989"/>
                  </a:ext>
                </a:extLst>
              </a:tr>
              <a:tr h="18663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4174807"/>
                  </a:ext>
                </a:extLst>
              </a:tr>
              <a:tr h="36843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6217765"/>
                  </a:ext>
                </a:extLst>
              </a:tr>
              <a:tr h="18663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x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5348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902337" y="4360605"/>
            <a:ext cx="2631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1.2022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:0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851458" y="2351550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47093"/>
              </p:ext>
            </p:extLst>
          </p:nvPr>
        </p:nvGraphicFramePr>
        <p:xfrm>
          <a:off x="1062182" y="1052933"/>
          <a:ext cx="6781588" cy="5235233"/>
        </p:xfrm>
        <a:graphic>
          <a:graphicData uri="http://schemas.openxmlformats.org/drawingml/2006/table">
            <a:tbl>
              <a:tblPr/>
              <a:tblGrid>
                <a:gridCol w="3899772">
                  <a:extLst>
                    <a:ext uri="{9D8B030D-6E8A-4147-A177-3AD203B41FA5}">
                      <a16:colId xmlns:a16="http://schemas.microsoft.com/office/drawing/2014/main" val="3935531579"/>
                    </a:ext>
                  </a:extLst>
                </a:gridCol>
                <a:gridCol w="688194">
                  <a:extLst>
                    <a:ext uri="{9D8B030D-6E8A-4147-A177-3AD203B41FA5}">
                      <a16:colId xmlns:a16="http://schemas.microsoft.com/office/drawing/2014/main" val="2519165876"/>
                    </a:ext>
                  </a:extLst>
                </a:gridCol>
                <a:gridCol w="2193622">
                  <a:extLst>
                    <a:ext uri="{9D8B030D-6E8A-4147-A177-3AD203B41FA5}">
                      <a16:colId xmlns:a16="http://schemas.microsoft.com/office/drawing/2014/main" val="633934576"/>
                    </a:ext>
                  </a:extLst>
                </a:gridCol>
              </a:tblGrid>
              <a:tr h="18782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lední aktualizace</a:t>
                      </a:r>
                    </a:p>
                  </a:txBody>
                  <a:tcPr marL="5629" marR="5629" marT="562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5071135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ěstská nemocnice Čáslav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8.11.2021 5:09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2027074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ESSENIA a.s., Rehabilitační nemocnice Beroun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.12.2021 8:46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2646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oměřížská nemocnice a.s.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K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01.2022 12:37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908023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01.2022 13:30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4515667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ový Jičín a.s.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01.2022 16:05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774110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01.2022 21:32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5228869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Znojmo, příspěvková organizace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M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6.01.2022 6:46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6380624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kultní Thomayerova nemocnice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6.01.2022 7:41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6971304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S PLUS s.r.o., Nemocnice Ostrov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VK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6.01.2022 8:39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895882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ísek, a.s.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6.01.2022 11:15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7587773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Kolín, a.s.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6.01.2022 14:48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752674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ulačova nemocnice s.r.o.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K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6.01.2022 15:56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028225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odlesí a.s.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6.01.2022 16:53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8652451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Tábor, a.s.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6.01.2022 17:29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764827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6.01.2022 20:59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3853090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MN, a.s., Nemocnice Jilemnice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BK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7.01.2022 5:49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6295733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Trutnov a.s.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KK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7.01.2022 6:23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3460122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šická nemocnice s.r.o.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K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7.01.2022 6:58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8824810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Úrazová nemocnice v Brně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M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7.01.2022 7:17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857051"/>
                  </a:ext>
                </a:extLst>
              </a:tr>
              <a:tr h="345257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ve Frýdku-Místku, příspěvková organizace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7.01.2022 7:38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640578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laný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7.01.2022 7:43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538659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Český Krumlov, a.s.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7.01.2022 7:44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6165021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 poliklinikou Havířov, p.o.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7.01.2022 7:58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5849601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a Homolce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7.01.2022 8:03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22407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5340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5884948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9.1.2022 0:33 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2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304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404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60,9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464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67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,9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33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71,8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635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27,6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840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98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8,6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095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59,5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16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3615507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.2022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4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,8 </a:t>
                      </a:r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803513" y="3270765"/>
            <a:ext cx="1095370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ne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.1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bylo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1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vě přijatých C+ pacientů a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0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puštěných.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– bez požadavků na mezikrajové překlady. 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 - celkové zlepšení situace, nižší počty příjmů C+ pac, nadále vysoká zátěž IP -&gt; long COVID pacienti vyžadující UPV/ECMO</a:t>
            </a:r>
          </a:p>
          <a:p>
            <a:pPr lvl="3"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postupné navyšování elektivní péče v některých krajích</a:t>
            </a:r>
          </a:p>
          <a:p>
            <a:pPr lvl="3"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personální stránka – je očekáván výpadek personálu v souvislosti s vlnou </a:t>
            </a:r>
            <a:r>
              <a:rPr lang="cs-CZ" dirty="0" err="1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micron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606585"/>
            <a:ext cx="52548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třetí týden stoupá a zároveň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5533277"/>
              </p:ext>
            </p:extLst>
          </p:nvPr>
        </p:nvGraphicFramePr>
        <p:xfrm>
          <a:off x="332646" y="735378"/>
          <a:ext cx="11405086" cy="5036646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6625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77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bilní situace, pokles akutně přijímaný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, kapacity obsazeny již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kovidovaný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emocnými stále vyžadujícími IP, kteří udržují vysok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IP/ARO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tále omezená, odlišně v různých ZZ dle konkrétní situace. I přes to občas problém s příjmem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, nízká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mplianc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ersonálu vůči neočkovaným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7923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tento týden mírně uvolněn, onkologická aj. neodkladná operativa zcela bez </a:t>
                      </a:r>
                      <a:r>
                        <a:rPr lang="cs-CZ" sz="1300" b="0" i="0" kern="120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. 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ůžka pro COVID+ zatím s dostatečnou kapacitou při spíše nižším počtu příjmů. Část navýšených kapacit uzavřena, na úkor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 ale udržována částečně navýšená kapacita standardní i IP péče v očekávání další vlny epidemie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časně pozastavena činnosti některý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jednotek, část COVID+ jednotek intenzivní péče pracuje nyní v hybridním režimu. Dočasně parciálně nebo plně obnovena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1478871"/>
              </p:ext>
            </p:extLst>
          </p:nvPr>
        </p:nvGraphicFramePr>
        <p:xfrm>
          <a:off x="288084" y="735513"/>
          <a:ext cx="11587543" cy="6015899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6464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3876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, výrazně omezená kapacita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ásadní 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, ale i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zhledem k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Omezená možnost překladů již neinfekční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. Pokles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ale setrvale zatížená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2951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i intenzivní péči, deeskalac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ovan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ek na běžný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režim. V připravenost opatř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éče tak IP pro variantu omikron či jiné mutace. Personál již delší dobu za hranou svých možností, převádění nevybrané dovolené, volna, podíl profesní frustrace…takže komplexní únava systém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5114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i intenzivní péči umožňuje návrat některých COV oddělení do běžného režimu, operativa stále omezena cca 6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aj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i na IP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ý tlak na následnou péči. Vše ponecháno v rámc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y opatření s ohledem na vizi omikron mutace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ersonál je za hranou svých možností a kapacit, převádí již druhým rokem strašlivá kvanta dovolené a osobního voln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4471</TotalTime>
  <Words>2206</Words>
  <Application>Microsoft Office PowerPoint</Application>
  <PresentationFormat>Širokoúhlá obrazovka</PresentationFormat>
  <Paragraphs>605</Paragraphs>
  <Slides>11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8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 - aktualizace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aniel Karafiát</cp:lastModifiedBy>
  <cp:revision>1854</cp:revision>
  <cp:lastPrinted>2020-10-20T04:21:56Z</cp:lastPrinted>
  <dcterms:created xsi:type="dcterms:W3CDTF">2020-07-15T10:33:32Z</dcterms:created>
  <dcterms:modified xsi:type="dcterms:W3CDTF">2022-01-09T10:16:05Z</dcterms:modified>
</cp:coreProperties>
</file>